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6" d="100"/>
          <a:sy n="86" d="100"/>
        </p:scale>
        <p:origin x="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D$2:$D$253</c:f>
              <c:numCache>
                <c:formatCode>#,##0</c:formatCode>
                <c:ptCount val="252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9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1</c:v>
                </c:pt>
                <c:pt idx="229">
                  <c:v>496</c:v>
                </c:pt>
                <c:pt idx="230">
                  <c:v>493</c:v>
                </c:pt>
                <c:pt idx="231">
                  <c:v>477</c:v>
                </c:pt>
                <c:pt idx="232">
                  <c:v>466</c:v>
                </c:pt>
                <c:pt idx="233">
                  <c:v>419</c:v>
                </c:pt>
                <c:pt idx="234">
                  <c:v>402</c:v>
                </c:pt>
                <c:pt idx="235">
                  <c:v>378</c:v>
                </c:pt>
                <c:pt idx="236">
                  <c:v>372</c:v>
                </c:pt>
                <c:pt idx="237">
                  <c:v>362</c:v>
                </c:pt>
                <c:pt idx="238">
                  <c:v>360</c:v>
                </c:pt>
                <c:pt idx="239">
                  <c:v>335</c:v>
                </c:pt>
                <c:pt idx="240">
                  <c:v>305</c:v>
                </c:pt>
                <c:pt idx="241">
                  <c:v>278</c:v>
                </c:pt>
                <c:pt idx="242">
                  <c:v>264</c:v>
                </c:pt>
                <c:pt idx="243" formatCode="General">
                  <c:v>270</c:v>
                </c:pt>
                <c:pt idx="244" formatCode="General">
                  <c:v>267</c:v>
                </c:pt>
                <c:pt idx="245" formatCode="General">
                  <c:v>251</c:v>
                </c:pt>
                <c:pt idx="246" formatCode="General">
                  <c:v>227</c:v>
                </c:pt>
                <c:pt idx="247" formatCode="General">
                  <c:v>214</c:v>
                </c:pt>
                <c:pt idx="248" formatCode="General">
                  <c:v>195</c:v>
                </c:pt>
                <c:pt idx="249" formatCode="General">
                  <c:v>172</c:v>
                </c:pt>
                <c:pt idx="250" formatCode="General">
                  <c:v>168</c:v>
                </c:pt>
                <c:pt idx="251" formatCode="General">
                  <c:v>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5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B$2:$B$253</c:f>
              <c:numCache>
                <c:formatCode>#,##0</c:formatCode>
                <c:ptCount val="252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  <c:pt idx="249" formatCode="General">
                  <c:v>639</c:v>
                </c:pt>
                <c:pt idx="250" formatCode="General">
                  <c:v>643</c:v>
                </c:pt>
                <c:pt idx="251" formatCode="General">
                  <c:v>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C$2:$C$253</c:f>
              <c:numCache>
                <c:formatCode>#,##0</c:formatCode>
                <c:ptCount val="25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D$2:$D$253</c:f>
              <c:numCache>
                <c:formatCode>#,##0</c:formatCode>
                <c:ptCount val="252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3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5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6</c:v>
                </c:pt>
                <c:pt idx="184">
                  <c:v>3680</c:v>
                </c:pt>
                <c:pt idx="185">
                  <c:v>3708</c:v>
                </c:pt>
                <c:pt idx="186">
                  <c:v>3786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4</c:v>
                </c:pt>
                <c:pt idx="198">
                  <c:v>3995</c:v>
                </c:pt>
                <c:pt idx="199">
                  <c:v>3792</c:v>
                </c:pt>
                <c:pt idx="200">
                  <c:v>3718</c:v>
                </c:pt>
                <c:pt idx="201">
                  <c:v>3795</c:v>
                </c:pt>
                <c:pt idx="202">
                  <c:v>3812</c:v>
                </c:pt>
                <c:pt idx="203">
                  <c:v>3682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3</c:v>
                </c:pt>
                <c:pt idx="211">
                  <c:v>3147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6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8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7</c:v>
                </c:pt>
                <c:pt idx="234">
                  <c:v>1424</c:v>
                </c:pt>
                <c:pt idx="235">
                  <c:v>1355</c:v>
                </c:pt>
                <c:pt idx="236">
                  <c:v>1354</c:v>
                </c:pt>
                <c:pt idx="237">
                  <c:v>1303</c:v>
                </c:pt>
                <c:pt idx="238">
                  <c:v>1280</c:v>
                </c:pt>
                <c:pt idx="239">
                  <c:v>1240</c:v>
                </c:pt>
                <c:pt idx="240">
                  <c:v>1186</c:v>
                </c:pt>
                <c:pt idx="241">
                  <c:v>1140</c:v>
                </c:pt>
                <c:pt idx="242">
                  <c:v>1146</c:v>
                </c:pt>
                <c:pt idx="243">
                  <c:v>1139</c:v>
                </c:pt>
                <c:pt idx="244">
                  <c:v>1135</c:v>
                </c:pt>
                <c:pt idx="245">
                  <c:v>1064</c:v>
                </c:pt>
                <c:pt idx="246">
                  <c:v>996</c:v>
                </c:pt>
                <c:pt idx="247" formatCode="General">
                  <c:v>927</c:v>
                </c:pt>
                <c:pt idx="248" formatCode="General">
                  <c:v>858</c:v>
                </c:pt>
                <c:pt idx="249" formatCode="General">
                  <c:v>806</c:v>
                </c:pt>
                <c:pt idx="250" formatCode="General">
                  <c:v>818</c:v>
                </c:pt>
                <c:pt idx="251" formatCode="General">
                  <c:v>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55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B$2:$B$253</c:f>
              <c:numCache>
                <c:formatCode>#,##0</c:formatCode>
                <c:ptCount val="252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C$2:$C$253</c:f>
              <c:numCache>
                <c:formatCode>#,##0</c:formatCode>
                <c:ptCount val="25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D$2:$D$253</c:f>
              <c:numCache>
                <c:formatCode>#,##0</c:formatCode>
                <c:ptCount val="2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6</c:v>
                </c:pt>
                <c:pt idx="249" formatCode="General">
                  <c:v>14</c:v>
                </c:pt>
                <c:pt idx="250" formatCode="General">
                  <c:v>13</c:v>
                </c:pt>
                <c:pt idx="251" formatCode="General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1.3064165799008164E-2"/>
                  <c:y val="-4.49057121480209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B$2:$B$253</c:f>
              <c:numCache>
                <c:formatCode>#,##0</c:formatCode>
                <c:ptCount val="252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m/d/yyyy">
                  <c:v>49</c:v>
                </c:pt>
                <c:pt idx="244" formatCode="m/d/yyyy">
                  <c:v>48</c:v>
                </c:pt>
                <c:pt idx="245" formatCode="m/d/yyyy">
                  <c:v>51</c:v>
                </c:pt>
                <c:pt idx="246" formatCode="m/d/yyyy">
                  <c:v>48</c:v>
                </c:pt>
                <c:pt idx="247" formatCode="m/d/yyyy">
                  <c:v>50</c:v>
                </c:pt>
                <c:pt idx="248" formatCode="m/d/yyyy">
                  <c:v>52</c:v>
                </c:pt>
                <c:pt idx="249" formatCode="m/d/yyyy">
                  <c:v>51</c:v>
                </c:pt>
                <c:pt idx="250" formatCode="m/d/yyyy">
                  <c:v>50</c:v>
                </c:pt>
                <c:pt idx="251" formatCode="m/d/yyyy">
                  <c:v>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C$2:$C$253</c:f>
              <c:numCache>
                <c:formatCode>#,##0</c:formatCode>
                <c:ptCount val="25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D$2:$D$253</c:f>
              <c:numCache>
                <c:formatCode>#,##0</c:formatCode>
                <c:ptCount val="252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1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5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8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3</c:v>
                </c:pt>
                <c:pt idx="208">
                  <c:v>1652</c:v>
                </c:pt>
                <c:pt idx="209">
                  <c:v>1662</c:v>
                </c:pt>
                <c:pt idx="210">
                  <c:v>1614</c:v>
                </c:pt>
                <c:pt idx="211">
                  <c:v>1554</c:v>
                </c:pt>
                <c:pt idx="212">
                  <c:v>1505</c:v>
                </c:pt>
                <c:pt idx="213">
                  <c:v>1424</c:v>
                </c:pt>
                <c:pt idx="214">
                  <c:v>1401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8</c:v>
                </c:pt>
                <c:pt idx="221">
                  <c:v>1221</c:v>
                </c:pt>
                <c:pt idx="222">
                  <c:v>1203</c:v>
                </c:pt>
                <c:pt idx="223">
                  <c:v>1189</c:v>
                </c:pt>
                <c:pt idx="224">
                  <c:v>1160</c:v>
                </c:pt>
                <c:pt idx="225">
                  <c:v>1116</c:v>
                </c:pt>
                <c:pt idx="226">
                  <c:v>1038</c:v>
                </c:pt>
                <c:pt idx="227">
                  <c:v>1016</c:v>
                </c:pt>
                <c:pt idx="228">
                  <c:v>976</c:v>
                </c:pt>
                <c:pt idx="229">
                  <c:v>978</c:v>
                </c:pt>
                <c:pt idx="230">
                  <c:v>997</c:v>
                </c:pt>
                <c:pt idx="231">
                  <c:v>946</c:v>
                </c:pt>
                <c:pt idx="232">
                  <c:v>912</c:v>
                </c:pt>
                <c:pt idx="233">
                  <c:v>837</c:v>
                </c:pt>
                <c:pt idx="234">
                  <c:v>790</c:v>
                </c:pt>
                <c:pt idx="235">
                  <c:v>754</c:v>
                </c:pt>
                <c:pt idx="236">
                  <c:v>764</c:v>
                </c:pt>
                <c:pt idx="237">
                  <c:v>742</c:v>
                </c:pt>
                <c:pt idx="238">
                  <c:v>716</c:v>
                </c:pt>
                <c:pt idx="239">
                  <c:v>691</c:v>
                </c:pt>
                <c:pt idx="240">
                  <c:v>640</c:v>
                </c:pt>
                <c:pt idx="241">
                  <c:v>580</c:v>
                </c:pt>
                <c:pt idx="242">
                  <c:v>559</c:v>
                </c:pt>
                <c:pt idx="243" formatCode="General">
                  <c:v>565</c:v>
                </c:pt>
                <c:pt idx="244" formatCode="General">
                  <c:v>571</c:v>
                </c:pt>
                <c:pt idx="245" formatCode="General">
                  <c:v>547</c:v>
                </c:pt>
                <c:pt idx="246" formatCode="General">
                  <c:v>497</c:v>
                </c:pt>
                <c:pt idx="247" formatCode="General">
                  <c:v>459</c:v>
                </c:pt>
                <c:pt idx="248" formatCode="General">
                  <c:v>435</c:v>
                </c:pt>
                <c:pt idx="249" formatCode="General">
                  <c:v>392</c:v>
                </c:pt>
                <c:pt idx="250" formatCode="General">
                  <c:v>398</c:v>
                </c:pt>
                <c:pt idx="251" formatCode="General">
                  <c:v>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layout>
                <c:manualLayout>
                  <c:x val="8.6341035191620161E-3"/>
                  <c:y val="8.575614127075071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8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B$2:$B$253</c:f>
              <c:numCache>
                <c:formatCode>#,##0</c:formatCode>
                <c:ptCount val="252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3</c:f>
              <c:numCache>
                <c:formatCode>m/d/yyyy</c:formatCode>
                <c:ptCount val="2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</c:numCache>
            </c:numRef>
          </c:cat>
          <c:val>
            <c:numRef>
              <c:f>Sheet1!$C$2:$C$253</c:f>
              <c:numCache>
                <c:formatCode>#,##0</c:formatCode>
                <c:ptCount val="25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1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34005380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67776271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6718362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40538653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18609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18601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74</TotalTime>
  <Words>1040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667</cp:revision>
  <dcterms:created xsi:type="dcterms:W3CDTF">2020-08-08T14:25:07Z</dcterms:created>
  <dcterms:modified xsi:type="dcterms:W3CDTF">2021-05-11T03:26:45Z</dcterms:modified>
</cp:coreProperties>
</file>